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4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8B-44BB-A0AF-E69A91BAF83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8B-44BB-A0AF-E69A91BAF83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8B-44BB-A0AF-E69A91BAF8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3450015"/>
        <c:axId val="573459135"/>
      </c:lineChart>
      <c:catAx>
        <c:axId val="573450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9135"/>
        <c:crosses val="autoZero"/>
        <c:auto val="1"/>
        <c:lblAlgn val="ctr"/>
        <c:lblOffset val="100"/>
        <c:noMultiLvlLbl val="0"/>
      </c:catAx>
      <c:valAx>
        <c:axId val="57345913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00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91536C-94F6-52A5-F42A-20AB1C32D5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E7E486B-B90E-4170-1580-56410ED530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7E486B-B90E-4170-1580-56410ED530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37CA8B72-B58F-7DC1-D488-2DB650C9F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acked Line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55E2078-AA87-58A8-2E1A-D845B277C7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70582BD7-9E24-ED0D-84FE-420EBA25BE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24B13871-929F-5CFF-A3A7-7C92B636F1F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5C81E371-785C-6C73-9075-B82F5BA7E8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B641D5B7-C7D5-9963-D3CD-3DA29989A4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7">
            <a:extLst>
              <a:ext uri="{FF2B5EF4-FFF2-40B4-BE49-F238E27FC236}">
                <a16:creationId xmlns:a16="http://schemas.microsoft.com/office/drawing/2014/main" id="{AE0AF728-4E2C-2AF9-6B2F-215C6C7F9664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7015162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6790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5</TotalTime>
  <Words>86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acked Line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69</cp:revision>
  <dcterms:created xsi:type="dcterms:W3CDTF">2025-07-09T10:57:17Z</dcterms:created>
  <dcterms:modified xsi:type="dcterms:W3CDTF">2025-10-22T09:50:44Z</dcterms:modified>
  <cp:category/>
</cp:coreProperties>
</file>